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2" r:id="rId2"/>
  </p:sldMasterIdLst>
  <p:notesMasterIdLst>
    <p:notesMasterId r:id="rId17"/>
  </p:notesMasterIdLst>
  <p:sldIdLst>
    <p:sldId id="257" r:id="rId3"/>
    <p:sldId id="299" r:id="rId4"/>
    <p:sldId id="300" r:id="rId5"/>
    <p:sldId id="287" r:id="rId6"/>
    <p:sldId id="290" r:id="rId7"/>
    <p:sldId id="288" r:id="rId8"/>
    <p:sldId id="301" r:id="rId9"/>
    <p:sldId id="302" r:id="rId10"/>
    <p:sldId id="303" r:id="rId11"/>
    <p:sldId id="304" r:id="rId12"/>
    <p:sldId id="305" r:id="rId13"/>
    <p:sldId id="306" r:id="rId14"/>
    <p:sldId id="307" r:id="rId15"/>
    <p:sldId id="308" r:id="rId16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980" autoAdjust="0"/>
    <p:restoredTop sz="94660"/>
  </p:normalViewPr>
  <p:slideViewPr>
    <p:cSldViewPr snapToGrid="0">
      <p:cViewPr varScale="1">
        <p:scale>
          <a:sx n="90" d="100"/>
          <a:sy n="90" d="100"/>
        </p:scale>
        <p:origin x="480" y="9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presProps" Target="presProps.xml"/><Relationship Id="rId3" Type="http://schemas.openxmlformats.org/officeDocument/2006/relationships/slide" Target="slides/slide1.xml"/><Relationship Id="rId21" Type="http://schemas.openxmlformats.org/officeDocument/2006/relationships/tableStyles" Target="tableStyle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10" Type="http://schemas.openxmlformats.org/officeDocument/2006/relationships/slide" Target="slides/slide8.xml"/><Relationship Id="rId19" Type="http://schemas.openxmlformats.org/officeDocument/2006/relationships/viewProps" Target="view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andeep Reddy Hanumaihgari" userId="86a9f56c-2e65-4a80-9d64-63b9c07412a6" providerId="ADAL" clId="{FC37BFA0-917C-4963-A7EC-F87FA73709AD}"/>
    <pc:docChg chg="undo addSld delSld modSld">
      <pc:chgData name="Sandeep Reddy Hanumaihgari" userId="86a9f56c-2e65-4a80-9d64-63b9c07412a6" providerId="ADAL" clId="{FC37BFA0-917C-4963-A7EC-F87FA73709AD}" dt="2018-05-05T07:22:02.995" v="26" actId="2696"/>
      <pc:docMkLst>
        <pc:docMk/>
      </pc:docMkLst>
      <pc:sldChg chg="modSp">
        <pc:chgData name="Sandeep Reddy Hanumaihgari" userId="86a9f56c-2e65-4a80-9d64-63b9c07412a6" providerId="ADAL" clId="{FC37BFA0-917C-4963-A7EC-F87FA73709AD}" dt="2018-05-05T07:21:32.572" v="14" actId="20577"/>
        <pc:sldMkLst>
          <pc:docMk/>
          <pc:sldMk cId="147571053" sldId="257"/>
        </pc:sldMkLst>
        <pc:spChg chg="mod">
          <ac:chgData name="Sandeep Reddy Hanumaihgari" userId="86a9f56c-2e65-4a80-9d64-63b9c07412a6" providerId="ADAL" clId="{FC37BFA0-917C-4963-A7EC-F87FA73709AD}" dt="2018-05-05T07:21:32.572" v="14" actId="20577"/>
          <ac:spMkLst>
            <pc:docMk/>
            <pc:sldMk cId="147571053" sldId="257"/>
            <ac:spMk id="2" creationId="{00000000-0000-0000-0000-000000000000}"/>
          </ac:spMkLst>
        </pc:spChg>
      </pc:sldChg>
      <pc:sldChg chg="del">
        <pc:chgData name="Sandeep Reddy Hanumaihgari" userId="86a9f56c-2e65-4a80-9d64-63b9c07412a6" providerId="ADAL" clId="{FC37BFA0-917C-4963-A7EC-F87FA73709AD}" dt="2018-05-05T07:21:38.011" v="15" actId="2696"/>
        <pc:sldMkLst>
          <pc:docMk/>
          <pc:sldMk cId="4271528126" sldId="285"/>
        </pc:sldMkLst>
      </pc:sldChg>
      <pc:sldChg chg="del">
        <pc:chgData name="Sandeep Reddy Hanumaihgari" userId="86a9f56c-2e65-4a80-9d64-63b9c07412a6" providerId="ADAL" clId="{FC37BFA0-917C-4963-A7EC-F87FA73709AD}" dt="2018-05-05T07:21:38.731" v="16" actId="2696"/>
        <pc:sldMkLst>
          <pc:docMk/>
          <pc:sldMk cId="2328822948" sldId="286"/>
        </pc:sldMkLst>
      </pc:sldChg>
      <pc:sldChg chg="del">
        <pc:chgData name="Sandeep Reddy Hanumaihgari" userId="86a9f56c-2e65-4a80-9d64-63b9c07412a6" providerId="ADAL" clId="{FC37BFA0-917C-4963-A7EC-F87FA73709AD}" dt="2018-05-05T07:22:02.917" v="19" actId="2696"/>
        <pc:sldMkLst>
          <pc:docMk/>
          <pc:sldMk cId="728068608" sldId="291"/>
        </pc:sldMkLst>
      </pc:sldChg>
      <pc:sldChg chg="del">
        <pc:chgData name="Sandeep Reddy Hanumaihgari" userId="86a9f56c-2e65-4a80-9d64-63b9c07412a6" providerId="ADAL" clId="{FC37BFA0-917C-4963-A7EC-F87FA73709AD}" dt="2018-05-05T07:22:02.932" v="20" actId="2696"/>
        <pc:sldMkLst>
          <pc:docMk/>
          <pc:sldMk cId="1554105566" sldId="292"/>
        </pc:sldMkLst>
      </pc:sldChg>
      <pc:sldChg chg="del">
        <pc:chgData name="Sandeep Reddy Hanumaihgari" userId="86a9f56c-2e65-4a80-9d64-63b9c07412a6" providerId="ADAL" clId="{FC37BFA0-917C-4963-A7EC-F87FA73709AD}" dt="2018-05-05T07:22:02.948" v="21" actId="2696"/>
        <pc:sldMkLst>
          <pc:docMk/>
          <pc:sldMk cId="2415238847" sldId="293"/>
        </pc:sldMkLst>
      </pc:sldChg>
      <pc:sldChg chg="del">
        <pc:chgData name="Sandeep Reddy Hanumaihgari" userId="86a9f56c-2e65-4a80-9d64-63b9c07412a6" providerId="ADAL" clId="{FC37BFA0-917C-4963-A7EC-F87FA73709AD}" dt="2018-05-05T07:22:02.948" v="22" actId="2696"/>
        <pc:sldMkLst>
          <pc:docMk/>
          <pc:sldMk cId="3977233131" sldId="294"/>
        </pc:sldMkLst>
      </pc:sldChg>
      <pc:sldChg chg="del">
        <pc:chgData name="Sandeep Reddy Hanumaihgari" userId="86a9f56c-2e65-4a80-9d64-63b9c07412a6" providerId="ADAL" clId="{FC37BFA0-917C-4963-A7EC-F87FA73709AD}" dt="2018-05-05T07:22:02.964" v="23" actId="2696"/>
        <pc:sldMkLst>
          <pc:docMk/>
          <pc:sldMk cId="139258758" sldId="295"/>
        </pc:sldMkLst>
      </pc:sldChg>
      <pc:sldChg chg="del">
        <pc:chgData name="Sandeep Reddy Hanumaihgari" userId="86a9f56c-2e65-4a80-9d64-63b9c07412a6" providerId="ADAL" clId="{FC37BFA0-917C-4963-A7EC-F87FA73709AD}" dt="2018-05-05T07:22:02.979" v="24" actId="2696"/>
        <pc:sldMkLst>
          <pc:docMk/>
          <pc:sldMk cId="2372641511" sldId="296"/>
        </pc:sldMkLst>
      </pc:sldChg>
      <pc:sldChg chg="del">
        <pc:chgData name="Sandeep Reddy Hanumaihgari" userId="86a9f56c-2e65-4a80-9d64-63b9c07412a6" providerId="ADAL" clId="{FC37BFA0-917C-4963-A7EC-F87FA73709AD}" dt="2018-05-05T07:22:02.979" v="25" actId="2696"/>
        <pc:sldMkLst>
          <pc:docMk/>
          <pc:sldMk cId="1318045822" sldId="297"/>
        </pc:sldMkLst>
      </pc:sldChg>
      <pc:sldChg chg="del">
        <pc:chgData name="Sandeep Reddy Hanumaihgari" userId="86a9f56c-2e65-4a80-9d64-63b9c07412a6" providerId="ADAL" clId="{FC37BFA0-917C-4963-A7EC-F87FA73709AD}" dt="2018-05-05T07:22:02.995" v="26" actId="2696"/>
        <pc:sldMkLst>
          <pc:docMk/>
          <pc:sldMk cId="18025794" sldId="298"/>
        </pc:sldMkLst>
      </pc:sldChg>
      <pc:sldChg chg="add del">
        <pc:chgData name="Sandeep Reddy Hanumaihgari" userId="86a9f56c-2e65-4a80-9d64-63b9c07412a6" providerId="ADAL" clId="{FC37BFA0-917C-4963-A7EC-F87FA73709AD}" dt="2018-05-05T07:21:44.930" v="18" actId="2696"/>
        <pc:sldMkLst>
          <pc:docMk/>
          <pc:sldMk cId="3584930177" sldId="299"/>
        </pc:sldMkLst>
      </pc:sldChg>
    </pc:docChg>
  </pc:docChgLst>
  <pc:docChgLst>
    <pc:chgData name="Sandeep Reddy Hanumaihgari" userId="86a9f56c-2e65-4a80-9d64-63b9c07412a6" providerId="ADAL" clId="{34CD2898-2CBF-4D03-8C62-D844F47B7E21}"/>
    <pc:docChg chg="addSld modSld">
      <pc:chgData name="Sandeep Reddy Hanumaihgari" userId="86a9f56c-2e65-4a80-9d64-63b9c07412a6" providerId="ADAL" clId="{34CD2898-2CBF-4D03-8C62-D844F47B7E21}" dt="2018-05-05T14:24:44.570" v="43" actId="20577"/>
      <pc:docMkLst>
        <pc:docMk/>
      </pc:docMkLst>
      <pc:sldChg chg="modSp add">
        <pc:chgData name="Sandeep Reddy Hanumaihgari" userId="86a9f56c-2e65-4a80-9d64-63b9c07412a6" providerId="ADAL" clId="{34CD2898-2CBF-4D03-8C62-D844F47B7E21}" dt="2018-05-05T14:24:44.570" v="43" actId="20577"/>
        <pc:sldMkLst>
          <pc:docMk/>
          <pc:sldMk cId="3957184361" sldId="308"/>
        </pc:sldMkLst>
        <pc:spChg chg="mod">
          <ac:chgData name="Sandeep Reddy Hanumaihgari" userId="86a9f56c-2e65-4a80-9d64-63b9c07412a6" providerId="ADAL" clId="{34CD2898-2CBF-4D03-8C62-D844F47B7E21}" dt="2018-05-05T14:19:00.412" v="28" actId="20577"/>
          <ac:spMkLst>
            <pc:docMk/>
            <pc:sldMk cId="3957184361" sldId="308"/>
            <ac:spMk id="2" creationId="{27B80E14-6CDB-4957-9951-FA9FE41C7819}"/>
          </ac:spMkLst>
        </pc:spChg>
        <pc:spChg chg="mod">
          <ac:chgData name="Sandeep Reddy Hanumaihgari" userId="86a9f56c-2e65-4a80-9d64-63b9c07412a6" providerId="ADAL" clId="{34CD2898-2CBF-4D03-8C62-D844F47B7E21}" dt="2018-05-05T14:24:44.570" v="43" actId="20577"/>
          <ac:spMkLst>
            <pc:docMk/>
            <pc:sldMk cId="3957184361" sldId="308"/>
            <ac:spMk id="3" creationId="{C74A9A74-AF8C-4211-81A2-BB115137DC3D}"/>
          </ac:spMkLst>
        </pc:sp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379A268-BC20-4C4B-AD49-13C7E7892CCC}" type="datetimeFigureOut">
              <a:rPr lang="en-US" smtClean="0"/>
              <a:t>5/5/2018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4B614D3-19B3-4C34-9035-E38A193485B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65419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884613" y="8685214"/>
            <a:ext cx="2971800" cy="457200"/>
          </a:xfrm>
          <a:prstGeom prst="rect">
            <a:avLst/>
          </a:prstGeom>
        </p:spPr>
        <p:txBody>
          <a:bodyPr/>
          <a:lstStyle/>
          <a:p>
            <a:fld id="{269BF997-9B5F-4A82-AF31-6E87F25749BF}" type="slidenum">
              <a:rPr lang="en-US" smtClean="0">
                <a:solidFill>
                  <a:prstClr val="black"/>
                </a:solidFill>
              </a:rPr>
              <a:pPr/>
              <a:t>1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9536093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C763B73-1F3F-48A1-868B-556C9EBE013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41542A6-BC5D-406C-BE1E-844BBBE4D4C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16E802A-AAAE-4137-A3EC-78A795EA3A3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3C3202-D806-4596-B738-5EFF906A959D}" type="datetimeFigureOut">
              <a:rPr lang="en-US" smtClean="0"/>
              <a:t>5/5/2018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0E810E1-EA93-4156-9E4F-516D85C617A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C418669-54D8-4FA7-AC03-4711395A82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4C7BE7-978E-4B01-9470-E85C6231532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011093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A80569-26CD-4E48-AB8F-C8D393C56B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AEDBDF74-D7DD-4F74-8204-768D6D8C870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9EE0E80-DE55-4227-8F22-8B46CC3313A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3C3202-D806-4596-B738-5EFF906A959D}" type="datetimeFigureOut">
              <a:rPr lang="en-US" smtClean="0"/>
              <a:t>5/5/2018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F1D90D3-5DB1-4E46-965A-43DE2A1ADA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E7E9E31-07F6-4BA3-89E4-4406CB6F4AE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4C7BE7-978E-4B01-9470-E85C6231532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420830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86FB4F80-033E-40D6-8EB5-E065B968872B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7B3FA981-8292-42BE-B5C1-A1E25890D7F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A2BE0CF-2BE4-4B92-BEC3-5CF0BDF9696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3C3202-D806-4596-B738-5EFF906A959D}" type="datetimeFigureOut">
              <a:rPr lang="en-US" smtClean="0"/>
              <a:t>5/5/2018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8738A02-307F-4A5A-BA7D-F53437CEEE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64FE8E8-723C-4492-8FB7-5544427AE4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4C7BE7-978E-4B01-9470-E85C6231532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2956755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 text only">
    <p:bg bwMode="gray"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87705" y="1604798"/>
            <a:ext cx="11079128" cy="1470025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>
              <a:defRPr sz="4000" b="1" baseline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endParaRPr lang="nl-NL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83908" y="3094328"/>
            <a:ext cx="11082925" cy="14868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3700" b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NL" dirty="0"/>
              <a:t>Click to edit the sub title</a:t>
            </a:r>
          </a:p>
        </p:txBody>
      </p:sp>
      <p:sp>
        <p:nvSpPr>
          <p:cNvPr id="10" name="AddClassification"/>
          <p:cNvSpPr txBox="1">
            <a:spLocks noChangeArrowheads="1"/>
          </p:cNvSpPr>
          <p:nvPr userDrawn="1"/>
        </p:nvSpPr>
        <p:spPr bwMode="auto">
          <a:xfrm>
            <a:off x="5082424" y="6195793"/>
            <a:ext cx="2027152" cy="2923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21917" tIns="60958" rIns="121917" bIns="60958">
            <a:spAutoFit/>
          </a:bodyPr>
          <a:lstStyle>
            <a:lvl1pPr>
              <a:defRPr>
                <a:solidFill>
                  <a:schemeClr val="tx1"/>
                </a:solidFill>
                <a:latin typeface="Lucida Sans Unicode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Lucida Sans Unicode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Lucida Sans Unicode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Lucida Sans Unicode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Lucida Sans Unicode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 Unicode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 Unicode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 Unicode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 Unicode" pitchFamily="34" charset="0"/>
              </a:defRPr>
            </a:lvl9pPr>
          </a:lstStyle>
          <a:p>
            <a:pPr algn="ctr" defTabSz="1219170"/>
            <a:r>
              <a:rPr lang="en-US" sz="1100">
                <a:solidFill>
                  <a:prstClr val="white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© Atos - For internal use</a:t>
            </a:r>
            <a:endParaRPr lang="en-US" sz="1100" dirty="0">
              <a:solidFill>
                <a:prstClr val="white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5700211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text only">
    <p:bg bwMode="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928000" y="1396812"/>
            <a:ext cx="6600000" cy="1470025"/>
          </a:xfrm>
        </p:spPr>
        <p:txBody>
          <a:bodyPr anchor="t" anchorCtr="0">
            <a:noAutofit/>
          </a:bodyPr>
          <a:lstStyle>
            <a:lvl1pPr>
              <a:defRPr sz="4100" b="1"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928000" y="2955600"/>
            <a:ext cx="6600000" cy="1486800"/>
          </a:xfrm>
        </p:spPr>
        <p:txBody>
          <a:bodyPr>
            <a:noAutofit/>
          </a:bodyPr>
          <a:lstStyle>
            <a:lvl1pPr marL="0" indent="0" algn="l">
              <a:buNone/>
              <a:defRPr sz="2700" b="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 marL="6094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89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3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78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3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67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57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nl-NL" dirty="0"/>
          </a:p>
        </p:txBody>
      </p:sp>
      <p:sp>
        <p:nvSpPr>
          <p:cNvPr id="8" name="AddCustomDate#1"/>
          <p:cNvSpPr txBox="1"/>
          <p:nvPr userDrawn="1"/>
        </p:nvSpPr>
        <p:spPr>
          <a:xfrm>
            <a:off x="5313315" y="4653139"/>
            <a:ext cx="1571628" cy="369332"/>
          </a:xfrm>
          <a:prstGeom prst="rect">
            <a:avLst/>
          </a:prstGeom>
          <a:noFill/>
        </p:spPr>
        <p:txBody>
          <a:bodyPr wrap="none" lIns="121896" tIns="60948" rIns="121896" bIns="60948" rtlCol="0">
            <a:spAutoFit/>
          </a:bodyPr>
          <a:lstStyle/>
          <a:p>
            <a:pPr defTabSz="1218930"/>
            <a:r>
              <a:rPr lang="nl-NL" sz="1600" dirty="0" err="1">
                <a:solidFill>
                  <a:prstClr val="black"/>
                </a:solidFill>
                <a:ea typeface="Verdana" pitchFamily="34" charset="0"/>
                <a:cs typeface="Verdana" pitchFamily="34" charset="0"/>
              </a:rPr>
              <a:t>dd</a:t>
            </a:r>
            <a:r>
              <a:rPr lang="nl-NL" sz="1600" dirty="0">
                <a:solidFill>
                  <a:prstClr val="black"/>
                </a:solidFill>
                <a:ea typeface="Verdana" pitchFamily="34" charset="0"/>
                <a:cs typeface="Verdana" pitchFamily="34" charset="0"/>
              </a:rPr>
              <a:t>-mm-</a:t>
            </a:r>
            <a:r>
              <a:rPr lang="nl-NL" sz="1600" dirty="0" err="1">
                <a:solidFill>
                  <a:prstClr val="black"/>
                </a:solidFill>
                <a:ea typeface="Verdana" pitchFamily="34" charset="0"/>
                <a:cs typeface="Verdana" pitchFamily="34" charset="0"/>
              </a:rPr>
              <a:t>yyyy</a:t>
            </a:r>
            <a:endParaRPr lang="nl-NL" sz="1600" dirty="0">
              <a:solidFill>
                <a:prstClr val="black"/>
              </a:solidFill>
              <a:ea typeface="Verdana" pitchFamily="34" charset="0"/>
              <a:cs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901379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 Basic">
    <p:bg bwMode="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  <a:endParaRPr lang="nl-NL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4173892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 No 2nd top line">
    <p:bg bwMode="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1600" y="378000"/>
            <a:ext cx="11655040" cy="756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87200" y="1124744"/>
            <a:ext cx="11664000" cy="496285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22930122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">
    <p:bg bwMode="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943125" y="1124744"/>
            <a:ext cx="6312000" cy="1245600"/>
          </a:xfrm>
        </p:spPr>
        <p:txBody>
          <a:bodyPr>
            <a:noAutofit/>
          </a:bodyPr>
          <a:lstStyle>
            <a:lvl1pPr>
              <a:defRPr sz="24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nl-NL" dirty="0"/>
          </a:p>
        </p:txBody>
      </p:sp>
      <p:sp>
        <p:nvSpPr>
          <p:cNvPr id="12" name="AddNotifier#1"/>
          <p:cNvSpPr txBox="1">
            <a:spLocks noChangeArrowheads="1"/>
          </p:cNvSpPr>
          <p:nvPr userDrawn="1"/>
        </p:nvSpPr>
        <p:spPr bwMode="auto">
          <a:xfrm>
            <a:off x="2918917" y="3166337"/>
            <a:ext cx="6312000" cy="1486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21896" tIns="60948" rIns="121896" bIns="60948" anchor="b" anchorCtr="0">
            <a:noAutofit/>
          </a:bodyPr>
          <a:lstStyle>
            <a:lvl1pPr>
              <a:defRPr>
                <a:solidFill>
                  <a:schemeClr val="tx1"/>
                </a:solidFill>
                <a:latin typeface="Lucida Sans Unicode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Lucida Sans Unicode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Lucida Sans Unicode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Lucida Sans Unicode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Lucida Sans Unicode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 Unicode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 Unicode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 Unicode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 Unicode" pitchFamily="34" charset="0"/>
              </a:defRPr>
            </a:lvl9pPr>
          </a:lstStyle>
          <a:p>
            <a:pPr defTabSz="1218930"/>
            <a:r>
              <a:rPr lang="en-US" sz="1300" dirty="0">
                <a:solidFill>
                  <a:prstClr val="black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Atos, the Atos logo, Atos Consulting, Atos </a:t>
            </a:r>
            <a:r>
              <a:rPr lang="en-US" sz="1300" dirty="0" err="1">
                <a:solidFill>
                  <a:prstClr val="black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Worldgrid</a:t>
            </a:r>
            <a:r>
              <a:rPr lang="en-US" sz="1300" dirty="0">
                <a:solidFill>
                  <a:prstClr val="black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, </a:t>
            </a:r>
            <a:r>
              <a:rPr lang="en-US" sz="1300" dirty="0" err="1">
                <a:solidFill>
                  <a:prstClr val="black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Worldline</a:t>
            </a:r>
            <a:r>
              <a:rPr lang="en-US" sz="1300" dirty="0">
                <a:solidFill>
                  <a:prstClr val="black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, </a:t>
            </a:r>
            <a:r>
              <a:rPr lang="en-US" sz="1300" dirty="0" err="1">
                <a:solidFill>
                  <a:prstClr val="black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BlueKiwi</a:t>
            </a:r>
            <a:r>
              <a:rPr lang="en-US" sz="1300" dirty="0">
                <a:solidFill>
                  <a:prstClr val="black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, Bull, Canopy the Open Cloud Company, </a:t>
            </a:r>
            <a:r>
              <a:rPr lang="en-US" sz="1300" dirty="0" err="1">
                <a:solidFill>
                  <a:prstClr val="black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Yunano</a:t>
            </a:r>
            <a:r>
              <a:rPr lang="en-US" sz="1300" dirty="0">
                <a:solidFill>
                  <a:prstClr val="black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, Zero Email, Zero Email Certified and The Zero Email Company are registered trademarks of the Atos group. May 2015. © 2015 Atos. Confidential information owned by Atos, to be used by the recipient only. This document, or any part of it, may not be reproduced, copied, circulated and/or distributed nor quoted without prior written approval from Atos.</a:t>
            </a:r>
          </a:p>
        </p:txBody>
      </p:sp>
      <p:sp>
        <p:nvSpPr>
          <p:cNvPr id="7" name="AddCustomDate#1"/>
          <p:cNvSpPr txBox="1"/>
          <p:nvPr userDrawn="1"/>
        </p:nvSpPr>
        <p:spPr>
          <a:xfrm>
            <a:off x="5313315" y="4653139"/>
            <a:ext cx="1571628" cy="369332"/>
          </a:xfrm>
          <a:prstGeom prst="rect">
            <a:avLst/>
          </a:prstGeom>
          <a:noFill/>
        </p:spPr>
        <p:txBody>
          <a:bodyPr wrap="none" lIns="121896" tIns="60948" rIns="121896" bIns="60948" rtlCol="0">
            <a:spAutoFit/>
          </a:bodyPr>
          <a:lstStyle/>
          <a:p>
            <a:pPr defTabSz="1218930"/>
            <a:r>
              <a:rPr lang="nl-NL" sz="1600">
                <a:solidFill>
                  <a:prstClr val="black"/>
                </a:solidFill>
                <a:ea typeface="Verdana" pitchFamily="34" charset="0"/>
                <a:cs typeface="Verdana" pitchFamily="34" charset="0"/>
              </a:rPr>
              <a:t>dd-mm-yyyy</a:t>
            </a:r>
            <a:endParaRPr lang="nl-NL" sz="1600" dirty="0">
              <a:solidFill>
                <a:prstClr val="black"/>
              </a:solidFill>
              <a:ea typeface="Verdana" pitchFamily="34" charset="0"/>
              <a:cs typeface="Verdana" pitchFamily="34" charset="0"/>
            </a:endParaRPr>
          </a:p>
        </p:txBody>
      </p:sp>
      <p:sp>
        <p:nvSpPr>
          <p:cNvPr id="8" name="AddClassification"/>
          <p:cNvSpPr txBox="1">
            <a:spLocks noChangeArrowheads="1"/>
          </p:cNvSpPr>
          <p:nvPr userDrawn="1"/>
        </p:nvSpPr>
        <p:spPr bwMode="auto">
          <a:xfrm>
            <a:off x="4870315" y="6386411"/>
            <a:ext cx="2409208" cy="3282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21896" tIns="60948" rIns="121896" bIns="60948">
            <a:spAutoFit/>
          </a:bodyPr>
          <a:lstStyle>
            <a:lvl1pPr>
              <a:defRPr>
                <a:solidFill>
                  <a:schemeClr val="tx1"/>
                </a:solidFill>
                <a:latin typeface="Lucida Sans Unicode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Lucida Sans Unicode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Lucida Sans Unicode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Lucida Sans Unicode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Lucida Sans Unicode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 Unicode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 Unicode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 Unicode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 Unicode" pitchFamily="34" charset="0"/>
              </a:defRPr>
            </a:lvl9pPr>
          </a:lstStyle>
          <a:p>
            <a:pPr algn="ctr" defTabSz="1218930"/>
            <a:r>
              <a:rPr lang="en-US" sz="1300" dirty="0">
                <a:solidFill>
                  <a:prstClr val="black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© Atos - For internal use</a:t>
            </a:r>
          </a:p>
        </p:txBody>
      </p:sp>
    </p:spTree>
    <p:extLst>
      <p:ext uri="{BB962C8B-B14F-4D97-AF65-F5344CB8AC3E}">
        <p14:creationId xmlns:p14="http://schemas.microsoft.com/office/powerpoint/2010/main" val="42521287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94F4AC-E648-434F-BEDB-346C6DBF95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3312F3D-B04D-4F29-80F1-0837DC278F0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558322C-9794-48D1-A122-5BFD30DD07F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3C3202-D806-4596-B738-5EFF906A959D}" type="datetimeFigureOut">
              <a:rPr lang="en-US" smtClean="0"/>
              <a:t>5/5/2018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0ECFE6F-FAAA-4B59-BBF9-67A11755907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83FF35E-BA32-4430-8147-FABE21F0DE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4C7BE7-978E-4B01-9470-E85C6231532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127580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AAA721F-979D-4E0A-969B-7BB719E37A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80F2DCB-7440-4EFE-84FD-C5B145200CE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F9ACA7C-2459-464A-91EB-8BD8D435E8F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3C3202-D806-4596-B738-5EFF906A959D}" type="datetimeFigureOut">
              <a:rPr lang="en-US" smtClean="0"/>
              <a:t>5/5/2018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882BCB3-0A02-4EF7-B31F-717F5620871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0DA4E46-7117-4D66-868F-0C98B7A07A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4C7BE7-978E-4B01-9470-E85C6231532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4132589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AF3B745-55E6-46E8-A9C1-1D98F55C41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CB1F58C-8AE0-467A-998D-E3674FEEACF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A0C3FB9-B5F5-4E9A-A17A-B5D6D4D932F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B147810-B2A7-4D3B-A423-C016E19B14A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3C3202-D806-4596-B738-5EFF906A959D}" type="datetimeFigureOut">
              <a:rPr lang="en-US" smtClean="0"/>
              <a:t>5/5/2018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BF82A90-1D5F-4C48-B548-158C650F01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CD40744-9B09-41CF-8B15-03637B1E30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4C7BE7-978E-4B01-9470-E85C6231532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45105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ED97563-4482-4574-830B-35EECC306B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FD71EB2-9F73-4E58-9B70-1E050A354E2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81C5A2C-F538-4D22-98A9-44D27C3692C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2BE44E8-930C-40B0-835A-0A5C05D1F3C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BC8BB31-4C2B-4D50-8EB0-CF37B702BBF6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CF99087-D002-4FE9-B555-9E2DC5690E3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3C3202-D806-4596-B738-5EFF906A959D}" type="datetimeFigureOut">
              <a:rPr lang="en-US" smtClean="0"/>
              <a:t>5/5/2018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B35234BA-58AC-4B2A-810E-78129A0FA6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CC9DCA1-C6F2-4CF8-AD8A-7151584BD2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4C7BE7-978E-4B01-9470-E85C6231532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6972011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0021152-6F5D-4953-9548-73735ECF32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40916F0-D4AD-4E4E-B6B4-3A6A6BAC657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3C3202-D806-4596-B738-5EFF906A959D}" type="datetimeFigureOut">
              <a:rPr lang="en-US" smtClean="0"/>
              <a:t>5/5/2018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9D95BE9-D92C-4FE0-AFA4-E1A698F1505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398B18E-5C3A-48C0-96B0-9B54BCBC72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4C7BE7-978E-4B01-9470-E85C6231532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295826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925E6C72-7166-4CA2-BC9E-C452D7AB67C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3C3202-D806-4596-B738-5EFF906A959D}" type="datetimeFigureOut">
              <a:rPr lang="en-US" smtClean="0"/>
              <a:t>5/5/2018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12E8DAF-2365-48A4-8150-C5BCAF10CA2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C2120AC-937E-4B78-B520-3A8707C5B0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4C7BE7-978E-4B01-9470-E85C6231532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998377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BE3DD97-A677-45A3-AD27-50F3B76866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6C9FAE0-B897-45AD-B735-9875E0B5723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45F4331-14A5-4906-B535-11DFC7BB871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015BE19-62C1-4201-BE5A-06A040EF43C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3C3202-D806-4596-B738-5EFF906A959D}" type="datetimeFigureOut">
              <a:rPr lang="en-US" smtClean="0"/>
              <a:t>5/5/2018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2D9B403-FD2B-4AAB-A35A-3D5E1168B6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E61C00C-92D0-4167-83E0-D6C9628726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4C7BE7-978E-4B01-9470-E85C6231532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1199874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D59E95F-F2A1-41BB-8B65-1CBC83EF76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300368E-6900-484E-8EE4-2022CE8B6FC4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4C11AFA-F4D4-4382-89A4-1033B937746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AA79854-9770-4B55-9842-F704E5A9546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3C3202-D806-4596-B738-5EFF906A959D}" type="datetimeFigureOut">
              <a:rPr lang="en-US" smtClean="0"/>
              <a:t>5/5/2018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96E9529-00BE-434D-88DD-255B69E7367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2CC066D-5495-4B44-B716-BD7D06054A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4C7BE7-978E-4B01-9470-E85C6231532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374755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15.xml"/><Relationship Id="rId7" Type="http://schemas.openxmlformats.org/officeDocument/2006/relationships/tags" Target="../tags/tag1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vmlDrawing" Target="../drawings/vmlDrawing1.vml"/><Relationship Id="rId5" Type="http://schemas.openxmlformats.org/officeDocument/2006/relationships/theme" Target="../theme/theme2.xml"/><Relationship Id="rId4" Type="http://schemas.openxmlformats.org/officeDocument/2006/relationships/slideLayout" Target="../slideLayouts/slideLayout16.xml"/><Relationship Id="rId9" Type="http://schemas.openxmlformats.org/officeDocument/2006/relationships/image" Target="../media/image2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53447FF-3495-4E79-BFE3-BFEE93C4F5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D63DAE0-3EFD-48A2-9700-FE7CE93A83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95952D2-743E-4B8A-A3A7-F3C054AA24F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F3C3202-D806-4596-B738-5EFF906A959D}" type="datetimeFigureOut">
              <a:rPr lang="en-US" smtClean="0"/>
              <a:t>5/5/2018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514BA33-A220-4C6F-97D3-EC5A351B953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6FC0680-4F5F-4D3E-8B9C-72D97FCC6A7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4C7BE7-978E-4B01-9470-E85C6231532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02211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7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8" imgW="216" imgH="216" progId="TCLayout.ActiveDocument.1">
                  <p:embed/>
                </p:oleObj>
              </mc:Choice>
              <mc:Fallback>
                <p:oleObj name="think-cell Slide" r:id="rId8" imgW="216" imgH="216" progId="TCLayout.ActiveDocument.1">
                  <p:embed/>
                  <p:pic>
                    <p:nvPicPr>
                      <p:cNvPr id="17" name="Object 16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AddCustomFooter#1"/>
          <p:cNvSpPr txBox="1"/>
          <p:nvPr/>
        </p:nvSpPr>
        <p:spPr>
          <a:xfrm>
            <a:off x="254403" y="6259454"/>
            <a:ext cx="2088024" cy="323141"/>
          </a:xfrm>
          <a:prstGeom prst="rect">
            <a:avLst/>
          </a:prstGeom>
          <a:noFill/>
        </p:spPr>
        <p:txBody>
          <a:bodyPr wrap="none" lIns="121896" tIns="60948" rIns="121896" bIns="60948" rtlCol="0">
            <a:spAutoFit/>
          </a:bodyPr>
          <a:lstStyle/>
          <a:p>
            <a:pPr defTabSz="1218930"/>
            <a:r>
              <a:rPr lang="en-US" sz="1300" dirty="0">
                <a:solidFill>
                  <a:prstClr val="black"/>
                </a:solidFill>
                <a:ea typeface="Verdana" pitchFamily="34" charset="0"/>
                <a:cs typeface="Verdana" pitchFamily="34" charset="0"/>
              </a:rPr>
              <a:t>© Atos - Confidential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01600" y="312000"/>
            <a:ext cx="11664000" cy="756000"/>
          </a:xfrm>
          <a:prstGeom prst="rect">
            <a:avLst/>
          </a:prstGeom>
        </p:spPr>
        <p:txBody>
          <a:bodyPr vert="horz" lIns="121896" tIns="60948" rIns="121896" bIns="60948" rtlCol="0" anchor="t" anchorCtr="0">
            <a:noAutofit/>
          </a:bodyPr>
          <a:lstStyle/>
          <a:p>
            <a:r>
              <a:rPr lang="nl-NL"/>
              <a:t>Klik om de stijl te bewerken</a:t>
            </a:r>
            <a:endParaRPr lang="nl-NL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87200" y="1454400"/>
            <a:ext cx="11664000" cy="4633200"/>
          </a:xfrm>
          <a:prstGeom prst="rect">
            <a:avLst/>
          </a:prstGeom>
        </p:spPr>
        <p:txBody>
          <a:bodyPr vert="horz" lIns="121896" tIns="60948" rIns="121896" bIns="60948" rtlCol="0">
            <a:noAutofit/>
          </a:bodyPr>
          <a:lstStyle/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</p:txBody>
      </p:sp>
    </p:spTree>
    <p:extLst>
      <p:ext uri="{BB962C8B-B14F-4D97-AF65-F5344CB8AC3E}">
        <p14:creationId xmlns:p14="http://schemas.microsoft.com/office/powerpoint/2010/main" val="20858949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1218930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Verdana" pitchFamily="34" charset="0"/>
          <a:ea typeface="Verdana" pitchFamily="34" charset="0"/>
          <a:cs typeface="Verdana" pitchFamily="34" charset="0"/>
        </a:defRPr>
      </a:lvl1pPr>
    </p:titleStyle>
    <p:bodyStyle>
      <a:lvl1pPr marL="359926" indent="-359926" algn="l" defTabSz="1218930" rtl="0" eaLnBrk="1" latinLnBrk="0" hangingPunct="1">
        <a:spcBef>
          <a:spcPct val="20000"/>
        </a:spcBef>
        <a:buClr>
          <a:schemeClr val="tx2"/>
        </a:buClr>
        <a:buFont typeface="Lucida Sans Unicode" pitchFamily="34" charset="0"/>
        <a:buChar char="▶"/>
        <a:defRPr sz="2100" kern="1200">
          <a:solidFill>
            <a:schemeClr val="tx1"/>
          </a:solidFill>
          <a:latin typeface="Verdana" pitchFamily="34" charset="0"/>
          <a:ea typeface="Verdana" pitchFamily="34" charset="0"/>
          <a:cs typeface="Verdana" pitchFamily="34" charset="0"/>
        </a:defRPr>
      </a:lvl1pPr>
      <a:lvl2pPr marL="719839" indent="-359926" algn="l" defTabSz="1218930" rtl="0" eaLnBrk="1" latinLnBrk="0" hangingPunct="1">
        <a:spcBef>
          <a:spcPts val="512"/>
        </a:spcBef>
        <a:buClr>
          <a:schemeClr val="tx2"/>
        </a:buClr>
        <a:buFont typeface="Arial" pitchFamily="34" charset="0"/>
        <a:buChar char="–"/>
        <a:defRPr sz="2100" kern="1200">
          <a:solidFill>
            <a:schemeClr val="tx1"/>
          </a:solidFill>
          <a:latin typeface="Verdana" pitchFamily="34" charset="0"/>
          <a:ea typeface="Verdana" pitchFamily="34" charset="0"/>
          <a:cs typeface="Verdana" pitchFamily="34" charset="0"/>
        </a:defRPr>
      </a:lvl2pPr>
      <a:lvl3pPr marL="1079760" indent="-359926" algn="l" defTabSz="121893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•"/>
        <a:defRPr sz="2100" kern="1200">
          <a:solidFill>
            <a:schemeClr val="tx1"/>
          </a:solidFill>
          <a:latin typeface="Verdana" pitchFamily="34" charset="0"/>
          <a:ea typeface="Verdana" pitchFamily="34" charset="0"/>
          <a:cs typeface="Verdana" pitchFamily="34" charset="0"/>
        </a:defRPr>
      </a:lvl3pPr>
      <a:lvl4pPr marL="1439676" indent="-359926" algn="l" defTabSz="121893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–"/>
        <a:defRPr sz="2100" kern="1200">
          <a:solidFill>
            <a:schemeClr val="tx1"/>
          </a:solidFill>
          <a:latin typeface="Verdana" pitchFamily="34" charset="0"/>
          <a:ea typeface="Verdana" pitchFamily="34" charset="0"/>
          <a:cs typeface="Verdana" pitchFamily="34" charset="0"/>
        </a:defRPr>
      </a:lvl4pPr>
      <a:lvl5pPr marL="1799602" indent="-359926" algn="l" defTabSz="121893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»"/>
        <a:defRPr sz="2100" kern="1200">
          <a:solidFill>
            <a:schemeClr val="tx1"/>
          </a:solidFill>
          <a:latin typeface="Verdana" pitchFamily="34" charset="0"/>
          <a:ea typeface="Verdana" pitchFamily="34" charset="0"/>
          <a:cs typeface="Verdana" pitchFamily="34" charset="0"/>
        </a:defRPr>
      </a:lvl5pPr>
      <a:lvl6pPr marL="3352044" indent="-304728" algn="l" defTabSz="1218930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3961512" indent="-304728" algn="l" defTabSz="1218930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570974" indent="-304728" algn="l" defTabSz="1218930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180436" indent="-304728" algn="l" defTabSz="1218930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121893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459" algn="l" defTabSz="121893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8930" algn="l" defTabSz="121893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392" algn="l" defTabSz="121893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7858" algn="l" defTabSz="121893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316" algn="l" defTabSz="121893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6775" algn="l" defTabSz="121893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240" algn="l" defTabSz="121893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5703" algn="l" defTabSz="121893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4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hyperlink" Target="https://wiki.scn.sap.com/wiki/display/SAPHANA/SAP+HANA+2.0+Cockpit+FAQ" TargetMode="External"/><Relationship Id="rId2" Type="http://schemas.openxmlformats.org/officeDocument/2006/relationships/hyperlink" Target="https://blogs.sap.com/2017/12/14/sap-hana-2.0-cockpit-installation-and-configuration-how-to-guide/" TargetMode="External"/><Relationship Id="rId1" Type="http://schemas.openxmlformats.org/officeDocument/2006/relationships/slideLayout" Target="../slideLayouts/slideLayout14.xml"/><Relationship Id="rId5" Type="http://schemas.openxmlformats.org/officeDocument/2006/relationships/hyperlink" Target="https://help.sap.com/viewer/afa922439b204e9caf22c78b6b69e4f2/2.6.0.0/en-US" TargetMode="External"/><Relationship Id="rId4" Type="http://schemas.openxmlformats.org/officeDocument/2006/relationships/hyperlink" Target="https://blogs.sap.com/2018/01/26/sap-hana-cockpit-2.0-sp-05-whats-new-by-the-sap-hana-academy/" TargetMode="Externa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br>
              <a:rPr lang="en-US" b="0" dirty="0"/>
            </a:br>
            <a:r>
              <a:rPr lang="en-US" b="0" dirty="0"/>
              <a:t> </a:t>
            </a:r>
            <a:r>
              <a:rPr lang="en-US" dirty="0"/>
              <a:t>SAP HANA Cockpit 2.0</a:t>
            </a:r>
          </a:p>
        </p:txBody>
      </p:sp>
    </p:spTree>
    <p:extLst>
      <p:ext uri="{BB962C8B-B14F-4D97-AF65-F5344CB8AC3E}">
        <p14:creationId xmlns:p14="http://schemas.microsoft.com/office/powerpoint/2010/main" val="14757105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571207-C6A1-4DD8-8814-F1A8C396B4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AP HANA Cockpit</a:t>
            </a:r>
            <a:br>
              <a:rPr lang="en-US" dirty="0"/>
            </a:br>
            <a:r>
              <a:rPr lang="en-IN" b="0" dirty="0"/>
              <a:t>Launching cockpit manager and SAP HANA cockpit</a:t>
            </a:r>
            <a:endParaRPr lang="en-US" dirty="0"/>
          </a:p>
        </p:txBody>
      </p:sp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6D84918B-B96F-461A-8E94-2D1E4B2BBB8F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548381" y="1618725"/>
            <a:ext cx="11095238" cy="4304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17604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207F699-7E0D-49B4-8642-EA0B45E74E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gistering Resources to Manage</a:t>
            </a:r>
            <a:br>
              <a:rPr lang="en-US" dirty="0"/>
            </a:br>
            <a:r>
              <a:rPr lang="en-US" b="0" dirty="0"/>
              <a:t>The registration process</a:t>
            </a:r>
            <a:endParaRPr lang="en-US" dirty="0"/>
          </a:p>
        </p:txBody>
      </p:sp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6AE0C013-0061-427D-BE96-6AD0A0F40C58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824076" y="1406202"/>
            <a:ext cx="10419048" cy="45809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18926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88546C-6ABB-4013-980F-28B4FB7464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gistering Resources to Manage</a:t>
            </a:r>
            <a:br>
              <a:rPr lang="en-US" dirty="0"/>
            </a:br>
            <a:r>
              <a:rPr lang="en-IN" b="0" dirty="0"/>
              <a:t>SAP HANA cockpit security model</a:t>
            </a:r>
            <a:endParaRPr lang="en-US" dirty="0"/>
          </a:p>
        </p:txBody>
      </p:sp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7A1FCDDB-F6CA-420F-9288-23701C08C5F4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819296" y="1411620"/>
            <a:ext cx="10428607" cy="46339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74907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E16D10A-51A9-4D0A-820C-33DB2C8D24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gistering Resources to Manage</a:t>
            </a:r>
            <a:br>
              <a:rPr lang="en-US" dirty="0"/>
            </a:br>
            <a:r>
              <a:rPr lang="en-US" b="0" dirty="0"/>
              <a:t>Registering your first resource</a:t>
            </a:r>
            <a:endParaRPr lang="en-US" dirty="0"/>
          </a:p>
        </p:txBody>
      </p:sp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1C32ED59-B1A5-497E-BB48-46E7E71E926A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201600" y="1458932"/>
            <a:ext cx="9951721" cy="41413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34263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B80E14-6CDB-4957-9951-FA9FE41C78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re on SAP HANA Cockpi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74A9A74-AF8C-4211-81A2-BB115137DC3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IN" dirty="0">
              <a:hlinkClick r:id="rId2"/>
            </a:endParaRPr>
          </a:p>
          <a:p>
            <a:r>
              <a:rPr lang="en-IN" dirty="0">
                <a:hlinkClick r:id="rId2"/>
              </a:rPr>
              <a:t>SAP HANA 2.0 Cockpit Installation and Configuration How to Guide</a:t>
            </a:r>
            <a:endParaRPr lang="en-IN" dirty="0"/>
          </a:p>
          <a:p>
            <a:endParaRPr lang="en-US" dirty="0">
              <a:hlinkClick r:id="rId3"/>
            </a:endParaRPr>
          </a:p>
          <a:p>
            <a:r>
              <a:rPr lang="en-US" dirty="0">
                <a:hlinkClick r:id="rId3"/>
              </a:rPr>
              <a:t>SAP HANA 2.0 Cockpit FAQ</a:t>
            </a:r>
            <a:endParaRPr lang="en-US" dirty="0"/>
          </a:p>
          <a:p>
            <a:endParaRPr lang="en-IN" dirty="0">
              <a:hlinkClick r:id="rId4"/>
            </a:endParaRPr>
          </a:p>
          <a:p>
            <a:r>
              <a:rPr lang="en-IN" dirty="0">
                <a:hlinkClick r:id="rId4"/>
              </a:rPr>
              <a:t>SAP HANA Cockpit 2.0 SP 05 What’s New</a:t>
            </a:r>
            <a:endParaRPr lang="en-IN" dirty="0"/>
          </a:p>
          <a:p>
            <a:endParaRPr lang="en-IN" dirty="0">
              <a:hlinkClick r:id="rId5"/>
            </a:endParaRPr>
          </a:p>
          <a:p>
            <a:r>
              <a:rPr lang="en-IN" dirty="0">
                <a:hlinkClick r:id="rId5"/>
              </a:rPr>
              <a:t>SAP HANA Administration with SAP HANA Cockpit</a:t>
            </a:r>
            <a:endParaRPr lang="en-IN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571843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B15D9483-A8B0-40BA-85AA-AC787AFBFA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2140" y="428958"/>
            <a:ext cx="11350341" cy="756000"/>
          </a:xfrm>
        </p:spPr>
        <p:txBody>
          <a:bodyPr/>
          <a:lstStyle/>
          <a:p>
            <a:r>
              <a:rPr lang="en-IN" b="0" dirty="0"/>
              <a:t>Native SAP HANA administration tools – SAP HANA 1.0</a:t>
            </a:r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093CA67D-169F-4CA8-AE20-76A9FE9510B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99720" y="1270928"/>
            <a:ext cx="10792560" cy="48110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49301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32AE1CE-8C77-484F-A851-A7084B657D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b="0" dirty="0"/>
              <a:t>Native SAP HANA administration tools – SAP HANA 2.0</a:t>
            </a:r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BA5A887-51D1-4BBA-83F3-3B7121AD296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95266" y="1382232"/>
            <a:ext cx="10201467" cy="45145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35375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971C945-41DD-4C37-A0BC-D8DF9FB2AB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AP HANA Cockpit</a:t>
            </a:r>
            <a:br>
              <a:rPr lang="en-US" dirty="0"/>
            </a:br>
            <a:r>
              <a:rPr lang="en-US" b="0" dirty="0"/>
              <a:t>Simplified architecture</a:t>
            </a: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02F745C-2412-46CD-A639-00D85CEA2D1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90743" y="1361153"/>
            <a:ext cx="11085714" cy="47523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2801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B3206583-9377-4109-86B3-13972618E3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1600" y="312000"/>
            <a:ext cx="11664000" cy="756000"/>
          </a:xfrm>
        </p:spPr>
        <p:txBody>
          <a:bodyPr/>
          <a:lstStyle/>
          <a:p>
            <a:r>
              <a:rPr lang="en-US" dirty="0"/>
              <a:t>SAP HANA Cockpit</a:t>
            </a:r>
            <a:br>
              <a:rPr lang="en-US" dirty="0"/>
            </a:br>
            <a:r>
              <a:rPr lang="en-US" b="0" dirty="0"/>
              <a:t>Internals</a:t>
            </a: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FDD7BDD3-5D4F-49D4-81E0-919645E70B6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91625" y="1433357"/>
            <a:ext cx="10008749" cy="45253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92060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68AD56-A5AD-470D-92FC-185D035BEA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AP HANA Cockpit</a:t>
            </a:r>
            <a:br>
              <a:rPr lang="en-US" dirty="0"/>
            </a:br>
            <a:r>
              <a:rPr lang="en-US" b="0" dirty="0"/>
              <a:t>System requirements</a:t>
            </a: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8D02C82-D9CC-45CB-A1B2-C75C1DD8410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6457" y="1485617"/>
            <a:ext cx="11114286" cy="43333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3791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617DC81-BD40-4A47-995A-78EEA9A371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AP HANA Cockpit</a:t>
            </a:r>
            <a:br>
              <a:rPr lang="en-US" dirty="0"/>
            </a:br>
            <a:r>
              <a:rPr lang="en-US" b="0" dirty="0"/>
              <a:t>Deployment scenarios</a:t>
            </a:r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2653FF5-DFFD-410D-934D-DD30BDCDEC7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52647" y="1354174"/>
            <a:ext cx="10361905" cy="47238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20538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6DFED5-8EC2-46FC-A8C5-9790AD2E94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AP HANA Cockpit</a:t>
            </a:r>
            <a:br>
              <a:rPr lang="en-US" dirty="0"/>
            </a:br>
            <a:r>
              <a:rPr lang="en-US" b="0" dirty="0"/>
              <a:t>Getting started – Download</a:t>
            </a:r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470A23F-079F-4308-A22F-F330D0C1073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8857" y="1533762"/>
            <a:ext cx="11114286" cy="37904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02571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C3C47AA-F0A0-43CF-83AA-BF4807CEFA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AP HANA Cockpit</a:t>
            </a:r>
            <a:br>
              <a:rPr lang="en-US" dirty="0"/>
            </a:br>
            <a:r>
              <a:rPr lang="en-US" b="0" dirty="0"/>
              <a:t>Getting started – Installation</a:t>
            </a:r>
            <a:endParaRPr lang="en-US" dirty="0"/>
          </a:p>
        </p:txBody>
      </p:sp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60D88B1E-C55B-4F8C-8C60-CE7921B60F5B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859221" y="1422252"/>
            <a:ext cx="10348758" cy="46339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66053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PPT-Atos_Widescreen">
  <a:themeElements>
    <a:clrScheme name="Atos Theme">
      <a:dk1>
        <a:sysClr val="windowText" lastClr="000000"/>
      </a:dk1>
      <a:lt1>
        <a:sysClr val="window" lastClr="FFFFFF"/>
      </a:lt1>
      <a:dk2>
        <a:srgbClr val="0066A1"/>
      </a:dk2>
      <a:lt2>
        <a:srgbClr val="829DC7"/>
      </a:lt2>
      <a:accent1>
        <a:srgbClr val="0066A1"/>
      </a:accent1>
      <a:accent2>
        <a:srgbClr val="829DC7"/>
      </a:accent2>
      <a:accent3>
        <a:srgbClr val="000000"/>
      </a:accent3>
      <a:accent4>
        <a:srgbClr val="808080"/>
      </a:accent4>
      <a:accent5>
        <a:srgbClr val="FFFFFF"/>
      </a:accent5>
      <a:accent6>
        <a:srgbClr val="BFBFBF"/>
      </a:accent6>
      <a:hlink>
        <a:srgbClr val="0066A1"/>
      </a:hlink>
      <a:folHlink>
        <a:srgbClr val="829DC7"/>
      </a:folHlink>
    </a:clrScheme>
    <a:fontScheme name="Atos Font PP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BFBFBF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82</TotalTime>
  <Words>87</Words>
  <PresentationFormat>Widescreen</PresentationFormat>
  <Paragraphs>23</Paragraphs>
  <Slides>14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22" baseType="lpstr">
      <vt:lpstr>Arial</vt:lpstr>
      <vt:lpstr>Calibri</vt:lpstr>
      <vt:lpstr>Calibri Light</vt:lpstr>
      <vt:lpstr>Lucida Sans Unicode</vt:lpstr>
      <vt:lpstr>Verdana</vt:lpstr>
      <vt:lpstr>Office Theme</vt:lpstr>
      <vt:lpstr>PPT-Atos_Widescreen</vt:lpstr>
      <vt:lpstr>think-cell Slide</vt:lpstr>
      <vt:lpstr>  SAP HANA Cockpit 2.0</vt:lpstr>
      <vt:lpstr>Native SAP HANA administration tools – SAP HANA 1.0</vt:lpstr>
      <vt:lpstr>Native SAP HANA administration tools – SAP HANA 2.0</vt:lpstr>
      <vt:lpstr>SAP HANA Cockpit Simplified architecture</vt:lpstr>
      <vt:lpstr>SAP HANA Cockpit Internals</vt:lpstr>
      <vt:lpstr>SAP HANA Cockpit System requirements</vt:lpstr>
      <vt:lpstr>SAP HANA Cockpit Deployment scenarios</vt:lpstr>
      <vt:lpstr>SAP HANA Cockpit Getting started – Download</vt:lpstr>
      <vt:lpstr>SAP HANA Cockpit Getting started – Installation</vt:lpstr>
      <vt:lpstr>SAP HANA Cockpit Launching cockpit manager and SAP HANA cockpit</vt:lpstr>
      <vt:lpstr>Registering Resources to Manage The registration process</vt:lpstr>
      <vt:lpstr>Registering Resources to Manage SAP HANA cockpit security model</vt:lpstr>
      <vt:lpstr>Registering Resources to Manage Registering your first resource</vt:lpstr>
      <vt:lpstr>More on SAP HANA Cockpi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terms:created xsi:type="dcterms:W3CDTF">2017-10-23T12:55:41Z</dcterms:created>
  <dcterms:modified xsi:type="dcterms:W3CDTF">2018-05-05T14:24:46Z</dcterms:modified>
</cp:coreProperties>
</file>